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3"/>
    <p:sldMasterId id="2147483655" r:id="rId4"/>
    <p:sldMasterId id="2147483662" r:id="rId5"/>
  </p:sldMasterIdLst>
  <p:notesMasterIdLst>
    <p:notesMasterId r:id="rId7"/>
  </p:notesMasterIdLst>
  <p:sldIdLst>
    <p:sldId id="393" r:id="rId6"/>
    <p:sldId id="394" r:id="rId8"/>
    <p:sldId id="396" r:id="rId9"/>
    <p:sldId id="384" r:id="rId10"/>
    <p:sldId id="390" r:id="rId11"/>
    <p:sldId id="397" r:id="rId12"/>
    <p:sldId id="399" r:id="rId13"/>
    <p:sldId id="389" r:id="rId14"/>
    <p:sldId id="403" r:id="rId15"/>
    <p:sldId id="411" r:id="rId16"/>
    <p:sldId id="405" r:id="rId17"/>
    <p:sldId id="406" r:id="rId18"/>
    <p:sldId id="408" r:id="rId19"/>
    <p:sldId id="409" r:id="rId20"/>
    <p:sldId id="412" r:id="rId21"/>
    <p:sldId id="415" r:id="rId22"/>
    <p:sldId id="413" r:id="rId23"/>
    <p:sldId id="414" r:id="rId24"/>
    <p:sldId id="420" r:id="rId25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0" Type="http://schemas.openxmlformats.org/officeDocument/2006/relationships/tags" Target="tags/tag3.xml"/><Relationship Id="rId3" Type="http://schemas.openxmlformats.org/officeDocument/2006/relationships/slideMaster" Target="slideMasters/slideMaster2.xml"/><Relationship Id="rId29" Type="http://schemas.openxmlformats.org/officeDocument/2006/relationships/commentAuthors" Target="commentAuthors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19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  <a:endParaRPr lang="zh-CN" altLang="en-US"/>
          </a:p>
          <a:p>
            <a:r>
              <a:rPr lang="zh-CN" altLang="en-US"/>
              <a:t>clip_fraction ：被截断的梯度比例，限制策略变化变化。</a:t>
            </a:r>
            <a:endParaRPr lang="zh-CN" altLang="en-US"/>
          </a:p>
          <a:p>
            <a:r>
              <a:rPr lang="zh-CN" altLang="en-US"/>
              <a:t>clip_range ：允许的策略更新范围，超参数</a:t>
            </a:r>
            <a:endParaRPr lang="zh-CN" altLang="en-US"/>
          </a:p>
          <a:p>
            <a:r>
              <a:rPr lang="zh-CN" altLang="en-US"/>
              <a:t>entropy_loss ：熵损失，熵越高策略随机性越大，逐渐确定最佳策略，理应逐渐下降。</a:t>
            </a:r>
            <a:endParaRPr lang="zh-CN" altLang="en-US"/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  <a:endParaRPr lang="zh-CN" altLang="en-US"/>
          </a:p>
          <a:p>
            <a:r>
              <a:rPr lang="zh-CN" altLang="en-US"/>
              <a:t>learning_rate：学习率，用于控制梯度更新的步长，超参数。</a:t>
            </a:r>
            <a:endParaRPr lang="zh-CN" altLang="en-US"/>
          </a:p>
          <a:p>
            <a:r>
              <a:rPr lang="zh-CN" altLang="en-US"/>
              <a:t>总体损失函数值</a:t>
            </a:r>
            <a:endParaRPr lang="zh-CN" altLang="en-US"/>
          </a:p>
          <a:p>
            <a:r>
              <a:rPr lang="zh-CN" altLang="en-US"/>
              <a:t>策略梯度损失</a:t>
            </a:r>
            <a:endParaRPr lang="zh-CN" altLang="en-US"/>
          </a:p>
          <a:p>
            <a:r>
              <a:rPr lang="zh-CN" altLang="en-US"/>
              <a:t>价值损失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  <a:endParaRPr lang="zh-CN" altLang="en-US" b="1" dirty="0">
              <a:solidFill>
                <a:srgbClr val="000000"/>
              </a:solidFill>
              <a:latin typeface="BMW Group Condensed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9.png"/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5.png"/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2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image" Target="../media/image17.png"/><Relationship Id="rId5" Type="http://schemas.openxmlformats.org/officeDocument/2006/relationships/image" Target="../media/image32.png"/><Relationship Id="rId4" Type="http://schemas.openxmlformats.org/officeDocument/2006/relationships/image" Target="../media/image15.pn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  <a:endParaRPr lang="en-US" altLang="zh-CN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  <a:endParaRPr lang="zh-CN" altLang="en-US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de-DE" dirty="0"/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  <a:endParaRPr lang="zh-CN" altLang="en-US" dirty="0"/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  <a:endParaRPr kumimoji="0" lang="zh-CN" altLang="en-US" sz="264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  <a:endParaRPr lang="zh-CN" altLang="en-US" dirty="0"/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  <a:endParaRPr kumimoji="0" lang="zh-CN" altLang="en-US" sz="312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endParaRPr lang="zh-CN" altLang="en-US" dirty="0"/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  <a:endParaRPr lang="zh-CN" altLang="en-US" dirty="0"/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  <a:endParaRPr lang="zh-CN" altLang="en-US" dirty="0"/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  <a:p>
            <a:pPr lvl="1"/>
            <a:r>
              <a:rPr lang="en-US" altLang="zh-SG" dirty="0"/>
              <a:t>Second level</a:t>
            </a:r>
            <a:endParaRPr lang="en-US" altLang="zh-SG" dirty="0"/>
          </a:p>
          <a:p>
            <a:pPr lvl="2"/>
            <a:r>
              <a:rPr lang="en-US" altLang="zh-SG" dirty="0"/>
              <a:t>Third level</a:t>
            </a:r>
            <a:endParaRPr lang="en-US" altLang="zh-SG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  <a:endParaRPr lang="zh-CN" altLang="en-US" dirty="0"/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6.jpeg"/><Relationship Id="rId7" Type="http://schemas.microsoft.com/office/2007/relationships/hdphoto" Target="../media/image5.wdp"/><Relationship Id="rId6" Type="http://schemas.openxmlformats.org/officeDocument/2006/relationships/image" Target="../media/image4.png"/><Relationship Id="rId5" Type="http://schemas.openxmlformats.org/officeDocument/2006/relationships/tags" Target="../tags/tag1.xml"/><Relationship Id="rId4" Type="http://schemas.microsoft.com/office/2007/relationships/hdphoto" Target="../media/image3.wdp"/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4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8" Type="http://schemas.microsoft.com/office/2007/relationships/hdphoto" Target="../media/image3.wdp"/><Relationship Id="rId7" Type="http://schemas.openxmlformats.org/officeDocument/2006/relationships/image" Target="../media/image2.png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7" Type="http://schemas.openxmlformats.org/officeDocument/2006/relationships/theme" Target="../theme/theme4.xml"/><Relationship Id="rId26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>
            <a:alphaModFix amt="47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7">
            <a:alphaModFix amt="8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55.png"/><Relationship Id="rId3" Type="http://schemas.microsoft.com/office/2007/relationships/media" Target="../media/media1.mp4"/><Relationship Id="rId2" Type="http://schemas.openxmlformats.org/officeDocument/2006/relationships/video" Target="../media/media1.mp4"/><Relationship Id="rId1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8.xml"/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48.png"/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48669" y="2722259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  <a:endParaRPr lang="zh-CN" altLang="en-US"/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  <a:endParaRPr lang="zh-CN" altLang="en-US" sz="24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  <a:endParaRPr lang="en-US" altLang="zh-CN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。</a:t>
            </a:r>
            <a:endParaRPr lang="zh-CN" altLang="en-US" sz="24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+mn-ea"/>
            </a:endParaRPr>
          </a:p>
          <a:p>
            <a:pPr marL="0" indent="0" defTabSz="914400">
              <a:buNone/>
            </a:pP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/>
          <p:cNvCxnSpPr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/>
          <p:cNvCxnSpPr/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307248" y="1433667"/>
            <a:ext cx="4884751" cy="14763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418567" y="4409825"/>
            <a:ext cx="4178300" cy="14763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op_reward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负奖励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  <a:endParaRPr lang="zh-CN" altLang="en-US" sz="20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418705" y="2620645"/>
            <a:ext cx="4064000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效避免车辆选择低速行驶</a:t>
            </a: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6050" y="2766695"/>
            <a:ext cx="6363970" cy="2708910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781800" y="782955"/>
            <a:ext cx="5309870" cy="530987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942750" y="1515682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  <a:endParaRPr lang="en-US" altLang="zh-CN" sz="24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  <a:endParaRPr lang="zh-CN" altLang="en-US" sz="24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218055" y="565975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收敛较好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下周任务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400"/>
              <a:t>不固定代码环境，车辆数减少，初始速度、轨迹等不固定</a:t>
            </a:r>
            <a:endParaRPr lang="zh-CN" altLang="en-US" sz="240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  <a:endParaRPr lang="zh-CN" altLang="en-US" sz="3200" b="1"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  <a:endParaRPr lang="zh-CN" altLang="en-US" sz="32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  <a:endParaRPr lang="zh-CN" altLang="en-US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  <a:endParaRPr lang="zh-CN" altLang="en-US"/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  <a:endParaRPr lang="zh-CN" altLang="en-US" sz="200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1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/>
          <p:nvPr/>
        </p:nvPicPr>
        <p:blipFill>
          <a:blip r:embed="rId2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3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p="http://schemas.openxmlformats.org/presentationml/2006/main">
  <p:tag name="COMMONDATA" val="eyJoZGlkIjoiMzcyODMxYTE0ZTc0ZGU3Y2QwODc3MzYzN2Q1YmNiM2EifQ==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12</Words>
  <Application>WPS 演示</Application>
  <PresentationFormat>宽屏</PresentationFormat>
  <Paragraphs>185</Paragraphs>
  <Slides>19</Slides>
  <Notes>9</Notes>
  <HiddenSlides>0</HiddenSlides>
  <MMClips>1</MMClips>
  <ScaleCrop>false</ScaleCrop>
  <HeadingPairs>
    <vt:vector size="6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9</vt:i4>
      </vt:variant>
    </vt:vector>
  </HeadingPairs>
  <TitlesOfParts>
    <vt:vector size="44" baseType="lpstr">
      <vt:lpstr>Arial</vt:lpstr>
      <vt:lpstr>宋体</vt:lpstr>
      <vt:lpstr>Wingdings</vt:lpstr>
      <vt:lpstr>BMW Group Condensed</vt:lpstr>
      <vt:lpstr>Symbol</vt:lpstr>
      <vt:lpstr>Wingdings 2</vt:lpstr>
      <vt:lpstr>微软雅黑</vt:lpstr>
      <vt:lpstr>Wingdings</vt:lpstr>
      <vt:lpstr>Arial</vt:lpstr>
      <vt:lpstr>Wingdings 3</vt:lpstr>
      <vt:lpstr>Wingdings 2</vt:lpstr>
      <vt:lpstr>Times New Roman</vt:lpstr>
      <vt:lpstr>BMW Group Condensed</vt:lpstr>
      <vt:lpstr>Impact</vt:lpstr>
      <vt:lpstr>BMW Group</vt:lpstr>
      <vt:lpstr>黑体</vt:lpstr>
      <vt:lpstr>Calibri</vt:lpstr>
      <vt:lpstr>Arial Unicode MS</vt:lpstr>
      <vt:lpstr>等线</vt:lpstr>
      <vt:lpstr>等线 Light</vt:lpstr>
      <vt:lpstr>AMGDT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  <vt:lpstr>三、下周任务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WPS_1657452678</cp:lastModifiedBy>
  <cp:revision>39</cp:revision>
  <dcterms:created xsi:type="dcterms:W3CDTF">2023-11-15T12:07:00Z</dcterms:created>
  <dcterms:modified xsi:type="dcterms:W3CDTF">2024-11-21T04:4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